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0"/>
  </p:notesMasterIdLst>
  <p:sldIdLst>
    <p:sldId id="275" r:id="rId7"/>
    <p:sldId id="332" r:id="rId8"/>
    <p:sldId id="333" r:id="rId9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32"/>
            <p14:sldId id="333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693" autoAdjust="0"/>
    <p:restoredTop sz="89620" autoAdjust="0"/>
  </p:normalViewPr>
  <p:slideViewPr>
    <p:cSldViewPr snapToGrid="0" showGuides="1">
      <p:cViewPr varScale="1">
        <p:scale>
          <a:sx n="125" d="100"/>
          <a:sy n="125" d="100"/>
        </p:scale>
        <p:origin x="192" y="240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1.10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4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40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19773" y="4294585"/>
            <a:ext cx="5736000" cy="1984296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ueller Stand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991870"/>
            <a:ext cx="5893373" cy="1667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Auswerten von 2 Datensätzen</a:t>
            </a:r>
          </a:p>
          <a:p>
            <a:pPr marL="0" indent="0">
              <a:buNone/>
            </a:pPr>
            <a:endParaRPr lang="de-DE" sz="1800" dirty="0"/>
          </a:p>
          <a:p>
            <a:pPr lvl="1"/>
            <a:r>
              <a:rPr lang="de-DE" sz="1800" dirty="0"/>
              <a:t>Verschiede ASR Systeme und </a:t>
            </a:r>
            <a:r>
              <a:rPr lang="de-DE" sz="1800" dirty="0" err="1"/>
              <a:t>Klassifikatoren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/>
              <a:t>Sonst schreiben...</a:t>
            </a:r>
          </a:p>
          <a:p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r>
              <a:rPr lang="de-DE" sz="1800" dirty="0"/>
              <a:t>	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738096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19773" y="4294585"/>
            <a:ext cx="5736000" cy="1984296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991870"/>
            <a:ext cx="5893373" cy="1667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Training mit Hypothesen?</a:t>
            </a:r>
          </a:p>
          <a:p>
            <a:pPr marL="0" indent="0">
              <a:buNone/>
            </a:pPr>
            <a:endParaRPr lang="de-DE" sz="1800" dirty="0"/>
          </a:p>
          <a:p>
            <a:r>
              <a:rPr lang="de-DE" sz="1800" dirty="0"/>
              <a:t>Frage zu Schreibweisen bei Auswertung bzw. Evaluation</a:t>
            </a:r>
          </a:p>
          <a:p>
            <a:endParaRPr lang="de-DE" sz="1800" dirty="0"/>
          </a:p>
          <a:p>
            <a:pPr marL="358775" lvl="1" indent="0">
              <a:buNone/>
            </a:pPr>
            <a:r>
              <a:rPr lang="de-DE" sz="1800" dirty="0"/>
              <a:t>	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7CE745E-C79D-7B4D-9F90-BFA7053DCB3D}"/>
              </a:ext>
            </a:extLst>
          </p:cNvPr>
          <p:cNvGrpSpPr/>
          <p:nvPr/>
        </p:nvGrpSpPr>
        <p:grpSpPr>
          <a:xfrm>
            <a:off x="881309" y="2659175"/>
            <a:ext cx="6718371" cy="3019862"/>
            <a:chOff x="114300" y="1824712"/>
            <a:chExt cx="5779937" cy="2389936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B6CBACDF-FC8A-7B48-B742-3BC078D95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833" y="1824712"/>
              <a:ext cx="4445000" cy="406400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DA87EE-B6DE-974E-A4EA-F970B8573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" y="2231112"/>
              <a:ext cx="4445000" cy="508000"/>
            </a:xfrm>
            <a:prstGeom prst="rect">
              <a:avLst/>
            </a:prstGeom>
          </p:spPr>
        </p:pic>
        <p:pic>
          <p:nvPicPr>
            <p:cNvPr id="12" name="Grafik 11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64849E1D-B599-6F47-805E-36D3C193A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9237" y="2881148"/>
              <a:ext cx="4445000" cy="1333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2626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39</Words>
  <Application>Microsoft Macintosh PowerPoint</Application>
  <PresentationFormat>Breitbild</PresentationFormat>
  <Paragraphs>48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ktueller Stand</vt:lpstr>
      <vt:lpstr>Frag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52</cp:revision>
  <dcterms:created xsi:type="dcterms:W3CDTF">2019-09-25T11:15:24Z</dcterms:created>
  <dcterms:modified xsi:type="dcterms:W3CDTF">2020-10-01T11:2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